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5"/>
  </p:sldMasterIdLst>
  <p:notesMasterIdLst>
    <p:notesMasterId r:id="rId12"/>
  </p:notesMasterIdLst>
  <p:handoutMasterIdLst>
    <p:handoutMasterId r:id="rId13"/>
  </p:handoutMasterIdLst>
  <p:sldIdLst>
    <p:sldId id="332" r:id="rId6"/>
    <p:sldId id="327" r:id="rId7"/>
    <p:sldId id="325" r:id="rId8"/>
    <p:sldId id="326" r:id="rId9"/>
    <p:sldId id="330" r:id="rId10"/>
    <p:sldId id="335" r:id="rId11"/>
  </p:sldIdLst>
  <p:sldSz cx="9906000" cy="6858000" type="A4"/>
  <p:notesSz cx="6985000" cy="9271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BC19"/>
    <a:srgbClr val="0065CC"/>
    <a:srgbClr val="54BC1C"/>
    <a:srgbClr val="3E9014"/>
    <a:srgbClr val="FFF6E9"/>
    <a:srgbClr val="E2E2E2"/>
    <a:srgbClr val="92C05D"/>
    <a:srgbClr val="CEE3B7"/>
    <a:srgbClr val="C8E0AE"/>
    <a:srgbClr val="C1DC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587" autoAdjust="0"/>
    <p:restoredTop sz="96448" autoAdjust="0"/>
  </p:normalViewPr>
  <p:slideViewPr>
    <p:cSldViewPr snapToGrid="0" snapToObjects="1" showGuides="1">
      <p:cViewPr>
        <p:scale>
          <a:sx n="75" d="100"/>
          <a:sy n="75" d="100"/>
        </p:scale>
        <p:origin x="-666" y="-72"/>
      </p:cViewPr>
      <p:guideLst>
        <p:guide orient="horz" pos="527"/>
        <p:guide pos="5953"/>
        <p:guide pos="287"/>
      </p:guideLst>
    </p:cSldViewPr>
  </p:slideViewPr>
  <p:outlineViewPr>
    <p:cViewPr>
      <p:scale>
        <a:sx n="33" d="100"/>
        <a:sy n="33" d="100"/>
      </p:scale>
      <p:origin x="72" y="81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2" d="100"/>
        <a:sy n="132" d="100"/>
      </p:scale>
      <p:origin x="0" y="1536"/>
    </p:cViewPr>
  </p:sorterViewPr>
  <p:notesViewPr>
    <p:cSldViewPr snapToGrid="0" snapToObjects="1">
      <p:cViewPr varScale="1">
        <p:scale>
          <a:sx n="75" d="100"/>
          <a:sy n="75" d="100"/>
        </p:scale>
        <p:origin x="-2856" y="-90"/>
      </p:cViewPr>
      <p:guideLst>
        <p:guide orient="horz" pos="2920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7378" cy="4632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5991" y="1"/>
            <a:ext cx="3027378" cy="4632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ECDAC-B39A-4707-A6E5-FA22EB33BEE7}" type="datetimeFigureOut">
              <a:rPr lang="en-US" smtClean="0"/>
              <a:pPr/>
              <a:t>11/26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06274"/>
            <a:ext cx="3027378" cy="4632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5991" y="8806274"/>
            <a:ext cx="3027378" cy="4632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5E70CA-B214-4006-8F5B-E08AC8E805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2277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de-CH" smtClean="0"/>
              <a:pPr/>
              <a:t>26.11.201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695325"/>
            <a:ext cx="502285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3725"/>
            <a:ext cx="5588000" cy="4171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CH" smtClean="0"/>
              <a:t>Click to edit Master text styles</a:t>
            </a:r>
          </a:p>
          <a:p>
            <a:pPr lvl="1"/>
            <a:r>
              <a:rPr lang="de-CH" smtClean="0"/>
              <a:t>Second level</a:t>
            </a:r>
          </a:p>
          <a:p>
            <a:pPr lvl="2"/>
            <a:r>
              <a:rPr lang="de-CH" smtClean="0"/>
              <a:t>Third level</a:t>
            </a:r>
          </a:p>
          <a:p>
            <a:pPr lvl="3"/>
            <a:r>
              <a:rPr lang="de-CH" smtClean="0"/>
              <a:t>Fourth level</a:t>
            </a:r>
          </a:p>
          <a:p>
            <a:pPr lvl="4"/>
            <a:r>
              <a:rPr lang="de-CH" smtClean="0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05841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05841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66317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CH" smtClean="0"/>
              <a:pPr/>
              <a:t>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9865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4839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CH" smtClean="0"/>
              <a:pPr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4839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4839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4839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gray">
          <a:xfrm>
            <a:off x="2647951" y="2905780"/>
            <a:ext cx="6706799" cy="523220"/>
          </a:xfrm>
        </p:spPr>
        <p:txBody>
          <a:bodyPr anchor="t" anchorCtr="0">
            <a:spAutoFit/>
          </a:bodyPr>
          <a:lstStyle>
            <a:lvl1pPr>
              <a:defRPr sz="2800" b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2657475" y="3962400"/>
            <a:ext cx="6706799" cy="307777"/>
          </a:xfrm>
        </p:spPr>
        <p:txBody>
          <a:bodyPr>
            <a:spAutoFit/>
          </a:bodyPr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 bwMode="gray">
          <a:xfrm>
            <a:off x="2647950" y="2339355"/>
            <a:ext cx="6706799" cy="553998"/>
          </a:xfrm>
        </p:spPr>
        <p:txBody>
          <a:bodyPr vert="horz" lIns="0" tIns="45720" rIns="0" bIns="45720" rtlCol="0" anchor="b" anchorCtr="0">
            <a:sp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14" name="Picture 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print"/>
          <a:srcRect l="15292" r="16657" b="1907"/>
          <a:stretch>
            <a:fillRect/>
          </a:stretch>
        </p:blipFill>
        <p:spPr bwMode="gray">
          <a:xfrm>
            <a:off x="0" y="0"/>
            <a:ext cx="200024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5" name="Straight Connector 24"/>
          <p:cNvCxnSpPr/>
          <p:nvPr userDrawn="1">
            <p:custDataLst>
              <p:tags r:id="rId7"/>
            </p:custDataLst>
          </p:nvPr>
        </p:nvCxnSpPr>
        <p:spPr bwMode="gray">
          <a:xfrm>
            <a:off x="2000250" y="0"/>
            <a:ext cx="0" cy="6858000"/>
          </a:xfrm>
          <a:prstGeom prst="line">
            <a:avLst/>
          </a:prstGeom>
          <a:ln w="44450">
            <a:solidFill>
              <a:schemeClr val="bg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lock Arc 8"/>
          <p:cNvSpPr/>
          <p:nvPr userDrawn="1">
            <p:custDataLst>
              <p:tags r:id="rId8"/>
            </p:custDataLst>
          </p:nvPr>
        </p:nvSpPr>
        <p:spPr bwMode="gray">
          <a:xfrm rot="16200000">
            <a:off x="1139832" y="4583366"/>
            <a:ext cx="1838322" cy="1885951"/>
          </a:xfrm>
          <a:prstGeom prst="blockArc">
            <a:avLst>
              <a:gd name="adj1" fmla="val 11006427"/>
              <a:gd name="adj2" fmla="val 21358055"/>
              <a:gd name="adj3" fmla="val 4333"/>
            </a:avLst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/>
          <p:cNvSpPr/>
          <p:nvPr userDrawn="1">
            <p:custDataLst>
              <p:tags r:id="rId9"/>
            </p:custDataLst>
          </p:nvPr>
        </p:nvSpPr>
        <p:spPr bwMode="gray">
          <a:xfrm>
            <a:off x="1174820" y="4663441"/>
            <a:ext cx="1728722" cy="172212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rgbClr val="626469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3" name="Picture 2" descr="Sindeo-logo-color-bp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0186" y="4905211"/>
            <a:ext cx="3055379" cy="120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68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C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270635"/>
            <a:ext cx="8997696" cy="4590288"/>
          </a:xfrm>
        </p:spPr>
        <p:txBody>
          <a:bodyPr lIns="91440" tIns="45720" rIns="91440" bIns="4572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34382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08949" y="66750"/>
            <a:ext cx="9241051" cy="625006"/>
          </a:xfrm>
        </p:spPr>
        <p:txBody>
          <a:bodyPr/>
          <a:lstStyle>
            <a:lvl1pPr>
              <a:defRPr sz="1900"/>
            </a:lvl1pPr>
          </a:lstStyle>
          <a:p>
            <a:r>
              <a:rPr lang="en-US" dirty="0" smtClean="0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19507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gray">
          <a:xfrm>
            <a:off x="457200" y="195709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de-CH" noProof="0" dirty="0"/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 bwMode="gray">
          <a:xfrm>
            <a:off x="9247188" y="643319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CH" sz="9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de-CH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457200" y="1270635"/>
            <a:ext cx="8997696" cy="45902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CH" dirty="0"/>
          </a:p>
        </p:txBody>
      </p:sp>
      <p:cxnSp>
        <p:nvCxnSpPr>
          <p:cNvPr id="8" name="Straight Connector 7"/>
          <p:cNvCxnSpPr/>
          <p:nvPr userDrawn="1">
            <p:custDataLst>
              <p:tags r:id="rId10"/>
            </p:custDataLst>
          </p:nvPr>
        </p:nvCxnSpPr>
        <p:spPr bwMode="gray">
          <a:xfrm>
            <a:off x="9128683" y="6345481"/>
            <a:ext cx="0" cy="302419"/>
          </a:xfrm>
          <a:prstGeom prst="line">
            <a:avLst/>
          </a:prstGeom>
          <a:ln>
            <a:solidFill>
              <a:schemeClr val="bg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Sindeo-logo-color.pn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6324202"/>
            <a:ext cx="1276626" cy="344977"/>
          </a:xfrm>
          <a:prstGeom prst="rect">
            <a:avLst/>
          </a:prstGeom>
        </p:spPr>
      </p:pic>
      <p:pic>
        <p:nvPicPr>
          <p:cNvPr id="6" name="Picture 5" descr="Sindeo-logo-color-bp.png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635"/>
          <a:stretch/>
        </p:blipFill>
        <p:spPr>
          <a:xfrm>
            <a:off x="6372090" y="6423711"/>
            <a:ext cx="2638089" cy="21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6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rgbClr val="9CDC1D"/>
        </a:buClr>
        <a:buFontTx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ct val="20000"/>
        </a:spcBef>
        <a:buClr>
          <a:srgbClr val="9CDC1D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spcBef>
          <a:spcPct val="20000"/>
        </a:spcBef>
        <a:buClr>
          <a:srgbClr val="9CDC1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spcBef>
          <a:spcPct val="20000"/>
        </a:spcBef>
        <a:buClr>
          <a:srgbClr val="9CDC1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spcBef>
          <a:spcPct val="20000"/>
        </a:spcBef>
        <a:buClr>
          <a:srgbClr val="9CDC1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gif"/><Relationship Id="rId5" Type="http://schemas.openxmlformats.org/officeDocument/2006/relationships/image" Target="../media/image8.png"/><Relationship Id="rId10" Type="http://schemas.openxmlformats.org/officeDocument/2006/relationships/image" Target="../media/image13.wmf"/><Relationship Id="rId4" Type="http://schemas.openxmlformats.org/officeDocument/2006/relationships/image" Target="../media/image7.png"/><Relationship Id="rId9" Type="http://schemas.openxmlformats.org/officeDocument/2006/relationships/image" Target="../media/image12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wmf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Mortgage Profile Builder Results</a:t>
            </a:r>
            <a:endParaRPr lang="en-US" b="0" dirty="0"/>
          </a:p>
        </p:txBody>
      </p:sp>
      <p:sp>
        <p:nvSpPr>
          <p:cNvPr id="3" name="TextBox 2"/>
          <p:cNvSpPr txBox="1"/>
          <p:nvPr/>
        </p:nvSpPr>
        <p:spPr>
          <a:xfrm>
            <a:off x="7882670" y="495603"/>
            <a:ext cx="1918193" cy="498307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Your Profile</a:t>
            </a:r>
          </a:p>
          <a:p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urpose:</a:t>
            </a: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0,1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w home purchase – researching options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2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rst-time homebuyer 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3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perty Zip: 94904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4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perty Value: $750,000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5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wn Payment: $150,000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(Q6)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edit: 720+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oan-to-Value Ratio:  </a:t>
            </a: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0%</a:t>
            </a:r>
          </a:p>
          <a:p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9100" y="1000229"/>
            <a:ext cx="7196870" cy="470607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ults</a:t>
            </a: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umber of potential lenders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sed on your information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out of &gt;x partners)</a:t>
            </a: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pected rates 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yments</a:t>
            </a: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Your mortgage profile is almost complete!  We need a little more information</a:t>
            </a:r>
          </a:p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r our advisors to be able to help you find the right mortgage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8318500" y="4498299"/>
            <a:ext cx="1369214" cy="356022"/>
            <a:chOff x="4261403" y="1527856"/>
            <a:chExt cx="1445048" cy="256569"/>
          </a:xfrm>
        </p:grpSpPr>
        <p:sp>
          <p:nvSpPr>
            <p:cNvPr id="5" name="Rounded Rectangle 4"/>
            <p:cNvSpPr/>
            <p:nvPr/>
          </p:nvSpPr>
          <p:spPr>
            <a:xfrm>
              <a:off x="4467828" y="1527856"/>
              <a:ext cx="1238623" cy="254644"/>
            </a:xfrm>
            <a:prstGeom prst="roundRect">
              <a:avLst/>
            </a:prstGeom>
            <a:solidFill>
              <a:schemeClr val="tx2">
                <a:lumMod val="25000"/>
                <a:lumOff val="7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4261403" y="1529781"/>
              <a:ext cx="984947" cy="254644"/>
            </a:xfrm>
            <a:prstGeom prst="roundRect">
              <a:avLst/>
            </a:prstGeom>
            <a:solidFill>
              <a:srgbClr val="52BC1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" name="Oval 7"/>
          <p:cNvSpPr/>
          <p:nvPr/>
        </p:nvSpPr>
        <p:spPr>
          <a:xfrm>
            <a:off x="706056" y="1527856"/>
            <a:ext cx="439838" cy="462988"/>
          </a:xfrm>
          <a:prstGeom prst="ellipse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696406" y="2444206"/>
            <a:ext cx="439838" cy="462988"/>
          </a:xfrm>
          <a:prstGeom prst="ellipse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1" name="Oval 10"/>
          <p:cNvSpPr/>
          <p:nvPr/>
        </p:nvSpPr>
        <p:spPr>
          <a:xfrm>
            <a:off x="758521" y="4731380"/>
            <a:ext cx="439838" cy="462988"/>
          </a:xfrm>
          <a:prstGeom prst="ellipse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930815" y="1517106"/>
            <a:ext cx="1354238" cy="462988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3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503584" y="2549206"/>
            <a:ext cx="882841" cy="231494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ate 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543084" y="2551131"/>
            <a:ext cx="882841" cy="231494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ints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5568759" y="2549207"/>
            <a:ext cx="882841" cy="250222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ym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88559" y="2880967"/>
            <a:ext cx="91883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.25%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71728" y="2894467"/>
            <a:ext cx="954107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-0.125 -&gt; </a:t>
            </a:r>
          </a:p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0.39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619357" y="2896392"/>
            <a:ext cx="681598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$1574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8064661" y="5076303"/>
            <a:ext cx="1613939" cy="243068"/>
          </a:xfrm>
          <a:prstGeom prst="round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ange Answers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37449" y="3782069"/>
            <a:ext cx="1481560" cy="346999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0-year fixed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1658555" y="3794013"/>
            <a:ext cx="1481560" cy="34699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rgbClr val="52BC19"/>
                </a:solidFill>
                <a:latin typeface="Arial" pitchFamily="34" charset="0"/>
                <a:cs typeface="Arial" pitchFamily="34" charset="0"/>
              </a:rPr>
              <a:t>15-year fixed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90339" y="3814154"/>
            <a:ext cx="1481560" cy="34699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rgbClr val="52BC19"/>
                </a:solidFill>
                <a:latin typeface="Arial" pitchFamily="34" charset="0"/>
                <a:cs typeface="Arial" pitchFamily="34" charset="0"/>
              </a:rPr>
              <a:t>7-year ARM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3172749" y="3802272"/>
            <a:ext cx="1481560" cy="34699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rgbClr val="52BC19"/>
                </a:solidFill>
                <a:latin typeface="Arial" pitchFamily="34" charset="0"/>
                <a:cs typeface="Arial" pitchFamily="34" charset="0"/>
              </a:rPr>
              <a:t>5-year ARM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6224307" y="3814154"/>
            <a:ext cx="1481560" cy="34699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dirty="0" smtClean="0">
                <a:solidFill>
                  <a:srgbClr val="52BC19"/>
                </a:solidFill>
                <a:latin typeface="Arial" pitchFamily="34" charset="0"/>
                <a:cs typeface="Arial" pitchFamily="34" charset="0"/>
              </a:rPr>
              <a:t>10-year AR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59747" y="3409343"/>
            <a:ext cx="138852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u="sng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how me mor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409626" y="6100975"/>
            <a:ext cx="2152566" cy="520312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b) Clicking ‘show me more’ shows top 5 loan sifter result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12185" y="6084986"/>
            <a:ext cx="2113379" cy="520312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c) Clicking product reveals results for that produc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747366" y="5733988"/>
            <a:ext cx="1993534" cy="1028143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1) Clicking ‘Change Answers’ allows visitor to update answers to questions above in one screen and recalculate resul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37449" y="6084986"/>
            <a:ext cx="2152566" cy="689589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a) Results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ulled from </a:t>
            </a:r>
            <a:r>
              <a:rPr lang="en-US" sz="11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oansifter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and encompass (for APR)</a:t>
            </a:r>
            <a:endParaRPr lang="en-US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77953" y="5175188"/>
            <a:ext cx="1141447" cy="397201"/>
          </a:xfrm>
          <a:prstGeom prst="rect">
            <a:avLst/>
          </a:prstGeom>
          <a:noFill/>
          <a:ln>
            <a:solidFill>
              <a:schemeClr val="tx2">
                <a:lumMod val="25000"/>
                <a:lumOff val="75000"/>
              </a:schemeClr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400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Last nam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35253" y="5175188"/>
            <a:ext cx="1141447" cy="397201"/>
          </a:xfrm>
          <a:prstGeom prst="rect">
            <a:avLst/>
          </a:prstGeom>
          <a:noFill/>
          <a:ln>
            <a:solidFill>
              <a:schemeClr val="tx2">
                <a:lumMod val="25000"/>
                <a:lumOff val="75000"/>
              </a:schemeClr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400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First nam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47953" y="5645088"/>
            <a:ext cx="1141447" cy="397201"/>
          </a:xfrm>
          <a:prstGeom prst="rect">
            <a:avLst/>
          </a:prstGeom>
          <a:noFill/>
          <a:ln>
            <a:solidFill>
              <a:schemeClr val="tx2">
                <a:lumMod val="25000"/>
                <a:lumOff val="75000"/>
              </a:schemeClr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400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Email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690653" y="5645088"/>
            <a:ext cx="1141447" cy="397201"/>
          </a:xfrm>
          <a:prstGeom prst="rect">
            <a:avLst/>
          </a:prstGeom>
          <a:noFill/>
          <a:ln>
            <a:solidFill>
              <a:schemeClr val="tx2">
                <a:lumMod val="25000"/>
                <a:lumOff val="75000"/>
              </a:schemeClr>
            </a:solidFill>
          </a:ln>
        </p:spPr>
        <p:txBody>
          <a:bodyPr wrap="square" tIns="90000" bIns="90000" rtlCol="0" anchor="t">
            <a:spAutoFit/>
          </a:bodyPr>
          <a:lstStyle/>
          <a:p>
            <a:r>
              <a:rPr lang="en-US" sz="1400" dirty="0" smtClean="0">
                <a:solidFill>
                  <a:schemeClr val="bg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Phone</a:t>
            </a:r>
          </a:p>
        </p:txBody>
      </p:sp>
      <p:sp>
        <p:nvSpPr>
          <p:cNvPr id="6" name="Rectangle 5"/>
          <p:cNvSpPr/>
          <p:nvPr/>
        </p:nvSpPr>
        <p:spPr>
          <a:xfrm>
            <a:off x="3172749" y="2927967"/>
            <a:ext cx="315810" cy="316276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a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772949" y="3486767"/>
            <a:ext cx="315810" cy="316276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b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07349" y="3461367"/>
            <a:ext cx="315810" cy="316276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c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15970" y="5003094"/>
            <a:ext cx="405707" cy="370693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1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6546659" y="2561907"/>
            <a:ext cx="882841" cy="250222"/>
          </a:xfrm>
          <a:prstGeom prst="roundRect">
            <a:avLst/>
          </a:prstGeom>
          <a:solidFill>
            <a:srgbClr val="52BC1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PR</a:t>
            </a:r>
            <a:endParaRPr lang="en-US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669021" y="2896392"/>
            <a:ext cx="614271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lc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39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95708"/>
            <a:ext cx="9290054" cy="1346105"/>
          </a:xfrm>
        </p:spPr>
        <p:txBody>
          <a:bodyPr/>
          <a:lstStyle/>
          <a:p>
            <a:r>
              <a:rPr lang="en-US" sz="3600" b="0" dirty="0" err="1" smtClean="0">
                <a:solidFill>
                  <a:srgbClr val="78A71C"/>
                </a:solidFill>
              </a:rPr>
              <a:t>MyAccount</a:t>
            </a:r>
            <a:r>
              <a:rPr lang="en-US" sz="3600" b="0" dirty="0" smtClean="0">
                <a:solidFill>
                  <a:srgbClr val="78A71C"/>
                </a:solidFill>
              </a:rPr>
              <a:t> Home</a:t>
            </a:r>
            <a:endParaRPr lang="en-US" sz="3600" b="0" dirty="0">
              <a:solidFill>
                <a:srgbClr val="78A71C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457200" y="1104181"/>
            <a:ext cx="2838091" cy="437632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yMortgage</a:t>
            </a:r>
            <a:endParaRPr lang="en-US" sz="2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2731" y="1656269"/>
            <a:ext cx="2244269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ender:  Bank of America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2601" y="1877681"/>
            <a:ext cx="2045240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:  30 Year Fix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9724" y="2116346"/>
            <a:ext cx="2133661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oan Amount:  $425,00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4100" y="2355011"/>
            <a:ext cx="1866217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est Rate:  4.25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4609" y="2576423"/>
            <a:ext cx="3033523" cy="82808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perty:  123 Main Street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        San Francisco, CA 94111</a:t>
            </a:r>
          </a:p>
          <a:p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arget Close Date:  Dec 10, 2013</a:t>
            </a:r>
          </a:p>
        </p:txBody>
      </p:sp>
      <p:pic>
        <p:nvPicPr>
          <p:cNvPr id="18" name="Picture 17" descr="Christopher-H-Headshot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46" r="14484" b="71437"/>
          <a:stretch/>
        </p:blipFill>
        <p:spPr>
          <a:xfrm>
            <a:off x="145406" y="4110648"/>
            <a:ext cx="936400" cy="889520"/>
          </a:xfrm>
          <a:prstGeom prst="rect">
            <a:avLst/>
          </a:prstGeom>
        </p:spPr>
      </p:pic>
      <p:sp>
        <p:nvSpPr>
          <p:cNvPr id="19" name="Rounded Rectangle 18"/>
          <p:cNvSpPr/>
          <p:nvPr/>
        </p:nvSpPr>
        <p:spPr>
          <a:xfrm>
            <a:off x="448236" y="3650147"/>
            <a:ext cx="2838091" cy="437632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ySindeo</a:t>
            </a: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Team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53535" y="4056860"/>
            <a:ext cx="2551259" cy="1268943"/>
            <a:chOff x="1053535" y="4316507"/>
            <a:chExt cx="2551259" cy="1268943"/>
          </a:xfrm>
        </p:grpSpPr>
        <p:sp>
          <p:nvSpPr>
            <p:cNvPr id="6" name="TextBox 5"/>
            <p:cNvSpPr txBox="1"/>
            <p:nvPr/>
          </p:nvSpPr>
          <p:spPr>
            <a:xfrm>
              <a:off x="1068578" y="4316507"/>
              <a:ext cx="1806905" cy="612645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r>
                <a:rPr lang="en-US" sz="14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yAdvisor</a:t>
              </a:r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:</a:t>
              </a:r>
            </a:p>
            <a:p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hristopher </a:t>
              </a:r>
              <a:r>
                <a:rPr lang="en-US" sz="14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ussain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2295" name="Picture 7" descr="C:\Users\Betsy\AppData\Local\Microsoft\Windows\Temporary Internet Files\Content.IE5\4E8G52A9\MC900441455[1]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535" y="4814046"/>
              <a:ext cx="483921" cy="483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96" name="Picture 8" descr="C:\Users\Betsy\AppData\Local\Microsoft\Windows\Temporary Internet Files\Content.IE5\KUOZPAON\MC900441450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5613" y="5165686"/>
              <a:ext cx="419764" cy="419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1397138" y="4802617"/>
              <a:ext cx="2207656" cy="397201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hristopher@sindeo.com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463084" y="5089487"/>
              <a:ext cx="1277915" cy="397201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15.555.5555</a:t>
              </a:r>
            </a:p>
          </p:txBody>
        </p:sp>
      </p:grpSp>
      <p:sp>
        <p:nvSpPr>
          <p:cNvPr id="27" name="Rounded Rectangle 26"/>
          <p:cNvSpPr/>
          <p:nvPr/>
        </p:nvSpPr>
        <p:spPr>
          <a:xfrm>
            <a:off x="3917562" y="1135558"/>
            <a:ext cx="4527191" cy="406255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yMortgage</a:t>
            </a:r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tatus</a:t>
            </a:r>
          </a:p>
        </p:txBody>
      </p:sp>
      <p:pic>
        <p:nvPicPr>
          <p:cNvPr id="12297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9075" y="1893239"/>
            <a:ext cx="4415678" cy="591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7837719" y="1572482"/>
            <a:ext cx="554960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Candara" panose="020E0502030303020204" pitchFamily="34" charset="0"/>
                <a:cs typeface="Arial" pitchFamily="34" charset="0"/>
              </a:rPr>
              <a:t>60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71962" y="1536624"/>
            <a:ext cx="1810688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Candara" panose="020E0502030303020204" pitchFamily="34" charset="0"/>
                <a:cs typeface="Arial" pitchFamily="34" charset="0"/>
              </a:rPr>
              <a:t>Progress Track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900587" y="3020619"/>
            <a:ext cx="4362605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ndara" panose="020E0502030303020204" pitchFamily="34" charset="0"/>
                <a:cs typeface="Arial" pitchFamily="34" charset="0"/>
              </a:rPr>
              <a:t>You have</a:t>
            </a:r>
            <a:r>
              <a:rPr lang="en-US" sz="1600" dirty="0" smtClean="0">
                <a:solidFill>
                  <a:srgbClr val="FF0000"/>
                </a:solidFill>
                <a:latin typeface="Candara" panose="020E0502030303020204" pitchFamily="34" charset="0"/>
                <a:cs typeface="Arial" pitchFamily="34" charset="0"/>
              </a:rPr>
              <a:t> 3 </a:t>
            </a:r>
            <a:r>
              <a:rPr lang="en-US" sz="1600" dirty="0" smtClean="0">
                <a:solidFill>
                  <a:srgbClr val="000000"/>
                </a:solidFill>
                <a:latin typeface="Candara" panose="020E0502030303020204" pitchFamily="34" charset="0"/>
                <a:cs typeface="Arial" pitchFamily="34" charset="0"/>
              </a:rPr>
              <a:t>tasks to complete in the next 10 day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894891" y="1904575"/>
            <a:ext cx="45719" cy="47733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6881005" y="1909058"/>
            <a:ext cx="45719" cy="47733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447951" y="2425693"/>
            <a:ext cx="1031051" cy="68958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 progress:</a:t>
            </a:r>
          </a:p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cuments &amp;</a:t>
            </a:r>
          </a:p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isclosure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391204" y="2443623"/>
            <a:ext cx="1306769" cy="68958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xt Milestone:</a:t>
            </a:r>
          </a:p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lize Loan </a:t>
            </a:r>
          </a:p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bmission 11/25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898281" y="3325075"/>
            <a:ext cx="5730516" cy="1185021"/>
            <a:chOff x="3898281" y="3325075"/>
            <a:chExt cx="5730516" cy="1185021"/>
          </a:xfrm>
        </p:grpSpPr>
        <p:pic>
          <p:nvPicPr>
            <p:cNvPr id="12292" name="Picture 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272" y="3414721"/>
              <a:ext cx="5724525" cy="1095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3898281" y="3325075"/>
              <a:ext cx="3383052" cy="42797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600" dirty="0" smtClean="0">
                  <a:solidFill>
                    <a:srgbClr val="000000"/>
                  </a:solidFill>
                  <a:latin typeface="Candara" panose="020E0502030303020204" pitchFamily="34" charset="0"/>
                  <a:cs typeface="Arial" pitchFamily="34" charset="0"/>
                </a:rPr>
                <a:t>Your Tasks:  Next 10 Days</a:t>
              </a:r>
            </a:p>
          </p:txBody>
        </p:sp>
        <p:sp>
          <p:nvSpPr>
            <p:cNvPr id="17" name="Down Arrow 16"/>
            <p:cNvSpPr/>
            <p:nvPr/>
          </p:nvSpPr>
          <p:spPr>
            <a:xfrm>
              <a:off x="5217459" y="3868963"/>
              <a:ext cx="136631" cy="339966"/>
            </a:xfrm>
            <a:prstGeom prst="downArrow">
              <a:avLst/>
            </a:prstGeom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Down Arrow 36"/>
            <p:cNvSpPr/>
            <p:nvPr/>
          </p:nvSpPr>
          <p:spPr>
            <a:xfrm>
              <a:off x="5585011" y="3868963"/>
              <a:ext cx="136631" cy="339966"/>
            </a:xfrm>
            <a:prstGeom prst="downArrow">
              <a:avLst/>
            </a:prstGeom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Down Arrow 52"/>
            <p:cNvSpPr/>
            <p:nvPr/>
          </p:nvSpPr>
          <p:spPr>
            <a:xfrm>
              <a:off x="6311171" y="3868958"/>
              <a:ext cx="136631" cy="339966"/>
            </a:xfrm>
            <a:prstGeom prst="downArrow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189693" y="3414721"/>
              <a:ext cx="2425657" cy="109537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247074" y="4989972"/>
            <a:ext cx="780983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Live Chat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115623" y="5123669"/>
            <a:ext cx="2322832" cy="1268943"/>
            <a:chOff x="1053535" y="4316507"/>
            <a:chExt cx="2322832" cy="1268943"/>
          </a:xfrm>
        </p:grpSpPr>
        <p:sp>
          <p:nvSpPr>
            <p:cNvPr id="50" name="TextBox 49"/>
            <p:cNvSpPr txBox="1"/>
            <p:nvPr/>
          </p:nvSpPr>
          <p:spPr>
            <a:xfrm>
              <a:off x="1068578" y="4316507"/>
              <a:ext cx="1369286" cy="612645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r>
                <a:rPr lang="en-US" sz="14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yProcessor</a:t>
              </a:r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:</a:t>
              </a:r>
            </a:p>
            <a:p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alph </a:t>
              </a:r>
              <a:r>
                <a:rPr lang="en-US" sz="14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cchio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1" name="Picture 7" descr="C:\Users\Betsy\AppData\Local\Microsoft\Windows\Temporary Internet Files\Content.IE5\4E8G52A9\MC900441455[1]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535" y="4814046"/>
              <a:ext cx="483921" cy="483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8" descr="C:\Users\Betsy\AppData\Local\Microsoft\Windows\Temporary Internet Files\Content.IE5\KUOZPAON\MC900441450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5613" y="5165686"/>
              <a:ext cx="419764" cy="419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TextBox 54"/>
            <p:cNvSpPr txBox="1"/>
            <p:nvPr/>
          </p:nvSpPr>
          <p:spPr>
            <a:xfrm>
              <a:off x="1625567" y="4802617"/>
              <a:ext cx="1750800" cy="397201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alph@sindeo.com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463084" y="5089487"/>
              <a:ext cx="1277915" cy="397201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15.555.5555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241428" y="6011625"/>
            <a:ext cx="780983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Live Chat</a:t>
            </a:r>
          </a:p>
        </p:txBody>
      </p:sp>
      <p:sp>
        <p:nvSpPr>
          <p:cNvPr id="8" name="AutoShape 2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790700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4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307975" y="-1638300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69" y="5267721"/>
            <a:ext cx="727124" cy="788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Box 68"/>
          <p:cNvSpPr txBox="1"/>
          <p:nvPr/>
        </p:nvSpPr>
        <p:spPr>
          <a:xfrm>
            <a:off x="1811170" y="6073176"/>
            <a:ext cx="3322861" cy="35103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1100" u="sng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ee more</a:t>
            </a:r>
            <a:endParaRPr lang="en-US" sz="1100" u="sng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0" name="Picture 10" descr="C:\Users\Betsy\AppData\Local\Microsoft\Windows\Temporary Internet Files\Content.IE5\4E8G52A9\MC900389408[1]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073" y="1062581"/>
            <a:ext cx="635278" cy="63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Oval 60"/>
          <p:cNvSpPr/>
          <p:nvPr/>
        </p:nvSpPr>
        <p:spPr>
          <a:xfrm>
            <a:off x="8845603" y="1522516"/>
            <a:ext cx="317639" cy="249485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725520" y="155644"/>
            <a:ext cx="147662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lcome, Betsy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595505" y="418855"/>
            <a:ext cx="2989921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Click triangle to reveal Settings and Logout)</a:t>
            </a:r>
          </a:p>
        </p:txBody>
      </p:sp>
      <p:sp>
        <p:nvSpPr>
          <p:cNvPr id="64" name="Isosceles Triangle 63"/>
          <p:cNvSpPr/>
          <p:nvPr/>
        </p:nvSpPr>
        <p:spPr>
          <a:xfrm flipH="1" flipV="1">
            <a:off x="8169013" y="313901"/>
            <a:ext cx="194199" cy="110681"/>
          </a:xfrm>
          <a:prstGeom prst="triangl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97274" y="678444"/>
            <a:ext cx="1654619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STOMER SERVICE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8611561" y="719026"/>
            <a:ext cx="1008368" cy="238944"/>
          </a:xfrm>
          <a:prstGeom prst="roundRect">
            <a:avLst/>
          </a:pr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55-746-3361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656554" y="6343186"/>
            <a:ext cx="4065088" cy="520312"/>
          </a:xfrm>
          <a:prstGeom prst="rect">
            <a:avLst/>
          </a:prstGeom>
          <a:solidFill>
            <a:srgbClr val="FFFF00"/>
          </a:solidFill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Clicking  “See more” displays additional text with contact info (and pic or empty </a:t>
            </a:r>
            <a:r>
              <a:rPr lang="en-US" sz="1100" dirty="0" err="1" smtClean="0">
                <a:latin typeface="Arial" pitchFamily="34" charset="0"/>
                <a:cs typeface="Arial" pitchFamily="34" charset="0"/>
              </a:rPr>
              <a:t>silhoutte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 icon ) for Title/Escrow and realtor)</a:t>
            </a:r>
          </a:p>
        </p:txBody>
      </p:sp>
      <p:pic>
        <p:nvPicPr>
          <p:cNvPr id="12290" name="Picture 2" descr="C:\Users\Betsy\AppData\Local\Microsoft\Windows\Temporary Internet Files\Content.IE5\OAH01MJI\MC900383868[1].w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073" y="5227041"/>
            <a:ext cx="686751" cy="68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Group 70"/>
          <p:cNvGrpSpPr/>
          <p:nvPr/>
        </p:nvGrpSpPr>
        <p:grpSpPr>
          <a:xfrm>
            <a:off x="3924335" y="4525681"/>
            <a:ext cx="3913384" cy="935083"/>
            <a:chOff x="3924335" y="4539788"/>
            <a:chExt cx="3913384" cy="935083"/>
          </a:xfrm>
        </p:grpSpPr>
        <p:sp>
          <p:nvSpPr>
            <p:cNvPr id="72" name="TextBox 71"/>
            <p:cNvSpPr txBox="1"/>
            <p:nvPr/>
          </p:nvSpPr>
          <p:spPr>
            <a:xfrm>
              <a:off x="3930198" y="4539788"/>
              <a:ext cx="2767103" cy="39720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Candara" panose="020E0502030303020204" pitchFamily="34" charset="0"/>
                  <a:cs typeface="Arial" pitchFamily="34" charset="0"/>
                </a:rPr>
                <a:t>Mon, Nov 18	Pay Stubs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3951102" y="4804247"/>
              <a:ext cx="2393604" cy="39720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Candara" panose="020E0502030303020204" pitchFamily="34" charset="0"/>
                  <a:cs typeface="Arial" pitchFamily="34" charset="0"/>
                </a:rPr>
                <a:t>Wed, Nov 20	W-2s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924335" y="5077670"/>
              <a:ext cx="3155351" cy="39720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Candara" panose="020E0502030303020204" pitchFamily="34" charset="0"/>
                  <a:cs typeface="Arial" pitchFamily="34" charset="0"/>
                </a:rPr>
                <a:t>Wed, Nov 20	Proof of Assets</a:t>
              </a: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7064297" y="4657706"/>
              <a:ext cx="773422" cy="190764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pload</a:t>
              </a: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7055333" y="4917682"/>
              <a:ext cx="773422" cy="190764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pload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7046369" y="5177658"/>
              <a:ext cx="773422" cy="190764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Upload</a:t>
              </a:r>
            </a:p>
          </p:txBody>
        </p:sp>
      </p:grpSp>
      <p:sp>
        <p:nvSpPr>
          <p:cNvPr id="57" name="Oval 56"/>
          <p:cNvSpPr/>
          <p:nvPr/>
        </p:nvSpPr>
        <p:spPr>
          <a:xfrm>
            <a:off x="8858500" y="5752091"/>
            <a:ext cx="317639" cy="249485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606002" y="5637791"/>
            <a:ext cx="2172892" cy="689589"/>
          </a:xfrm>
          <a:prstGeom prst="rect">
            <a:avLst/>
          </a:prstGeom>
          <a:solidFill>
            <a:srgbClr val="FFFF00"/>
          </a:solidFill>
        </p:spPr>
        <p:txBody>
          <a:bodyPr wrap="square" tIns="90000" bIns="90000" rtlCol="0" anchor="t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Message Center houses alerts &amp; messages red circle indicates # of new messages</a:t>
            </a:r>
          </a:p>
        </p:txBody>
      </p:sp>
      <p:sp>
        <p:nvSpPr>
          <p:cNvPr id="79" name="Rounded Rectangle 78"/>
          <p:cNvSpPr/>
          <p:nvPr/>
        </p:nvSpPr>
        <p:spPr>
          <a:xfrm>
            <a:off x="7884568" y="5176251"/>
            <a:ext cx="1299133" cy="19076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82" name="Rounded Rectangle 81"/>
          <p:cNvSpPr/>
          <p:nvPr/>
        </p:nvSpPr>
        <p:spPr>
          <a:xfrm>
            <a:off x="7909968" y="4909551"/>
            <a:ext cx="1299133" cy="19076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7909968" y="4655551"/>
            <a:ext cx="1299133" cy="19076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620151" y="1774035"/>
            <a:ext cx="1127103" cy="3398023"/>
          </a:xfrm>
          <a:prstGeom prst="rect">
            <a:avLst/>
          </a:prstGeom>
          <a:solidFill>
            <a:srgbClr val="FFFF00"/>
          </a:solidFill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100" dirty="0" smtClean="0">
                <a:latin typeface="Arial" pitchFamily="34" charset="0"/>
                <a:cs typeface="Arial" pitchFamily="34" charset="0"/>
              </a:rPr>
              <a:t>Briefcase represents Document Management Area, with 3 indicating 3 documents need to be submitted. Clicking opens new page showing documents organized by To-Do, Under Review, Complete, and allows for content upload</a:t>
            </a:r>
          </a:p>
        </p:txBody>
      </p:sp>
      <p:pic>
        <p:nvPicPr>
          <p:cNvPr id="12291" name="Picture 3" descr="C:\Program Files (x86)\Microsoft Office\MEDIA\OFFICE14\Bullets\BD21301_.gi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1630" y="2454998"/>
            <a:ext cx="242850" cy="24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616200" y="2332632"/>
            <a:ext cx="1072898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Your rate has been locked</a:t>
            </a:r>
          </a:p>
        </p:txBody>
      </p:sp>
    </p:spTree>
    <p:extLst>
      <p:ext uri="{BB962C8B-B14F-4D97-AF65-F5344CB8AC3E}">
        <p14:creationId xmlns:p14="http://schemas.microsoft.com/office/powerpoint/2010/main" val="3410549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195708"/>
            <a:ext cx="9290054" cy="1346105"/>
          </a:xfrm>
        </p:spPr>
        <p:txBody>
          <a:bodyPr/>
          <a:lstStyle/>
          <a:p>
            <a:r>
              <a:rPr lang="en-US" sz="3600" b="0" dirty="0" smtClean="0">
                <a:solidFill>
                  <a:srgbClr val="78A71C"/>
                </a:solidFill>
              </a:rPr>
              <a:t>Document Storage, Upload</a:t>
            </a:r>
            <a:br>
              <a:rPr lang="en-US" sz="3600" b="0" dirty="0" smtClean="0">
                <a:solidFill>
                  <a:srgbClr val="78A71C"/>
                </a:solidFill>
              </a:rPr>
            </a:br>
            <a:r>
              <a:rPr lang="en-US" sz="3600" b="0" dirty="0" smtClean="0">
                <a:solidFill>
                  <a:srgbClr val="78A71C"/>
                </a:solidFill>
              </a:rPr>
              <a:t>Download</a:t>
            </a:r>
            <a:endParaRPr lang="en-US" sz="3600" b="0" dirty="0">
              <a:solidFill>
                <a:srgbClr val="78A71C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327660" y="1304893"/>
            <a:ext cx="6797530" cy="501331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yBriefcase</a:t>
            </a:r>
            <a:endParaRPr lang="en-US" sz="2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2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790700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4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2566230" y="-152265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Rounded Rectangle 1"/>
          <p:cNvSpPr/>
          <p:nvPr/>
        </p:nvSpPr>
        <p:spPr>
          <a:xfrm>
            <a:off x="327660" y="2035489"/>
            <a:ext cx="2110706" cy="233228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 smtClean="0">
                <a:solidFill>
                  <a:schemeClr val="bg1"/>
                </a:solidFill>
                <a:latin typeface="Candara" panose="020E0502030303020204" pitchFamily="34" charset="0"/>
                <a:cs typeface="Arial" pitchFamily="34" charset="0"/>
              </a:rPr>
              <a:t>To do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658837" y="2041132"/>
            <a:ext cx="2110706" cy="2332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Under</a:t>
            </a: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vie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990014" y="2035486"/>
            <a:ext cx="2110706" cy="2332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mplete</a:t>
            </a:r>
          </a:p>
        </p:txBody>
      </p:sp>
      <p:sp>
        <p:nvSpPr>
          <p:cNvPr id="7" name="Rectangle 6"/>
          <p:cNvSpPr/>
          <p:nvPr/>
        </p:nvSpPr>
        <p:spPr>
          <a:xfrm>
            <a:off x="327660" y="2266244"/>
            <a:ext cx="6773060" cy="3874912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655876"/>
              </p:ext>
            </p:extLst>
          </p:nvPr>
        </p:nvGraphicFramePr>
        <p:xfrm>
          <a:off x="457200" y="2266244"/>
          <a:ext cx="6508044" cy="20269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84674"/>
                <a:gridCol w="1084674"/>
                <a:gridCol w="1929885"/>
                <a:gridCol w="239463"/>
                <a:gridCol w="1084674"/>
                <a:gridCol w="108467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Condition  #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Due Date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Description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 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2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ed Clearer</a:t>
                      </a:r>
                      <a:r>
                        <a:rPr lang="en-US" sz="1200" baseline="0" dirty="0" smtClean="0"/>
                        <a:t> Copy of 2012 Tax Retur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2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ay</a:t>
                      </a:r>
                      <a:r>
                        <a:rPr lang="en-US" sz="1200" baseline="0" dirty="0" smtClean="0"/>
                        <a:t> Stub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gn and Return</a:t>
                      </a:r>
                      <a:r>
                        <a:rPr lang="en-US" sz="1200" baseline="0" dirty="0" smtClean="0"/>
                        <a:t> Disclosur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the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5" name="Rounded Rectangle 34"/>
          <p:cNvSpPr/>
          <p:nvPr/>
        </p:nvSpPr>
        <p:spPr>
          <a:xfrm>
            <a:off x="4483389" y="2757973"/>
            <a:ext cx="767633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pload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3668894" y="4391383"/>
            <a:ext cx="3996276" cy="2269067"/>
            <a:chOff x="3544715" y="4154314"/>
            <a:chExt cx="3996276" cy="2269067"/>
          </a:xfrm>
        </p:grpSpPr>
        <p:sp>
          <p:nvSpPr>
            <p:cNvPr id="12" name="Rectangle 11"/>
            <p:cNvSpPr/>
            <p:nvPr/>
          </p:nvSpPr>
          <p:spPr>
            <a:xfrm>
              <a:off x="3544715" y="4154314"/>
              <a:ext cx="3996276" cy="226906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4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numCol="1" rtlCol="0" anchor="ctr" anchorCtr="0"/>
            <a:lstStyle/>
            <a:p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94578" y="4560709"/>
              <a:ext cx="1450789" cy="169333"/>
            </a:xfrm>
            <a:prstGeom prst="rect">
              <a:avLst/>
            </a:prstGeom>
            <a:solidFill>
              <a:srgbClr val="52BC19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rowse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653475" y="4453462"/>
              <a:ext cx="893193" cy="366424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elect file: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611510" y="4825999"/>
              <a:ext cx="1450789" cy="547512"/>
            </a:xfrm>
            <a:prstGeom prst="rect">
              <a:avLst/>
            </a:prstGeom>
            <a:solidFill>
              <a:srgbClr val="52BC19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faults to </a:t>
              </a:r>
              <a:r>
                <a:rPr lang="en-US" sz="11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scr</a:t>
              </a:r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bove, but can be free entry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619912" y="4718752"/>
              <a:ext cx="994183" cy="366424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scription: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685670" y="5311423"/>
              <a:ext cx="873957" cy="551090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eets 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dition: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594575" y="5452537"/>
              <a:ext cx="1450789" cy="547512"/>
            </a:xfrm>
            <a:prstGeom prst="rect">
              <a:avLst/>
            </a:prstGeom>
            <a:solidFill>
              <a:srgbClr val="52BC19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efaults to </a:t>
              </a:r>
              <a:r>
                <a:rPr lang="en-US" sz="1100" dirty="0" err="1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rresp</a:t>
              </a:r>
              <a:r>
                <a:rPr lang="en-US" sz="11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condition, but can be free entry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612191" y="5994399"/>
              <a:ext cx="1407758" cy="397201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 algn="ctr"/>
              <a:r>
                <a:rPr lang="en-US" sz="1400" u="sng" dirty="0" smtClean="0">
                  <a:solidFill>
                    <a:schemeClr val="bg2"/>
                  </a:solidFill>
                  <a:latin typeface="Arial" pitchFamily="34" charset="0"/>
                  <a:cs typeface="Arial" pitchFamily="34" charset="0"/>
                </a:rPr>
                <a:t>Upload another</a:t>
              </a:r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6377111" y="6048712"/>
              <a:ext cx="924073" cy="233228"/>
            </a:xfrm>
            <a:prstGeom prst="round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ubmit</a:t>
              </a: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214492" y="4453462"/>
            <a:ext cx="1952968" cy="1659085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cription must expand on page to show all content; content can be either free entry or pulled from encompass &gt; doc name; the last condition ‘other’ will allow borrowers to upload at any time </a:t>
            </a: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2295518" y="4470395"/>
            <a:ext cx="365159" cy="356643"/>
          </a:xfrm>
          <a:prstGeom prst="line">
            <a:avLst/>
          </a:prstGeom>
          <a:ln>
            <a:solidFill>
              <a:schemeClr val="bg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7830862" y="3783350"/>
            <a:ext cx="1466850" cy="2582415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pload window must allow for multiple documents to be uploaded; each document should have ‘description’ and ‘meets condition’ populated (it will default to the info corresponding to the ‘upload’ path )</a:t>
            </a: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7371673" y="3989582"/>
            <a:ext cx="365159" cy="356643"/>
          </a:xfrm>
          <a:prstGeom prst="line">
            <a:avLst/>
          </a:prstGeom>
          <a:ln>
            <a:solidFill>
              <a:schemeClr val="bg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7595078" y="1926247"/>
            <a:ext cx="1702634" cy="1659085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cuments may be uploaded here (see upload requirements below); for documents being sent to the borrower, enable view/download and e-signature feature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6702248" y="2991201"/>
            <a:ext cx="723115" cy="593000"/>
          </a:xfrm>
          <a:prstGeom prst="line">
            <a:avLst/>
          </a:prstGeom>
          <a:ln>
            <a:solidFill>
              <a:schemeClr val="bg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6725520" y="155644"/>
            <a:ext cx="147662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lcome, Betsy</a:t>
            </a:r>
          </a:p>
        </p:txBody>
      </p:sp>
      <p:sp>
        <p:nvSpPr>
          <p:cNvPr id="51" name="Isosceles Triangle 50"/>
          <p:cNvSpPr/>
          <p:nvPr/>
        </p:nvSpPr>
        <p:spPr>
          <a:xfrm flipH="1" flipV="1">
            <a:off x="8169013" y="313901"/>
            <a:ext cx="194199" cy="110681"/>
          </a:xfrm>
          <a:prstGeom prst="triangl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997274" y="678444"/>
            <a:ext cx="1654619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STOMER SERVICE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8611561" y="719026"/>
            <a:ext cx="1008368" cy="238944"/>
          </a:xfrm>
          <a:prstGeom prst="roundRect">
            <a:avLst/>
          </a:pr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55-746-3361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5345575" y="2759389"/>
            <a:ext cx="1529626" cy="233228"/>
          </a:xfrm>
          <a:prstGeom prst="roundRect">
            <a:avLst/>
          </a:prstGeom>
          <a:solidFill>
            <a:srgbClr val="54BC1C">
              <a:alpha val="32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4496089" y="3164373"/>
            <a:ext cx="767633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pload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358275" y="3165789"/>
            <a:ext cx="1529626" cy="233228"/>
          </a:xfrm>
          <a:prstGeom prst="roundRect">
            <a:avLst/>
          </a:prstGeom>
          <a:solidFill>
            <a:srgbClr val="54BC1C">
              <a:alpha val="32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4483389" y="3570773"/>
            <a:ext cx="767633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pload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5345575" y="3572189"/>
            <a:ext cx="1529626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</p:spTree>
    <p:extLst>
      <p:ext uri="{BB962C8B-B14F-4D97-AF65-F5344CB8AC3E}">
        <p14:creationId xmlns:p14="http://schemas.microsoft.com/office/powerpoint/2010/main" val="88807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760245" y="271394"/>
            <a:ext cx="147662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lcome, Bets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630230" y="534605"/>
            <a:ext cx="2989921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Click triangle to reveal Settings and Logout)</a:t>
            </a:r>
          </a:p>
        </p:txBody>
      </p:sp>
      <p:sp>
        <p:nvSpPr>
          <p:cNvPr id="36" name="Isosceles Triangle 35"/>
          <p:cNvSpPr/>
          <p:nvPr/>
        </p:nvSpPr>
        <p:spPr>
          <a:xfrm flipH="1" flipV="1">
            <a:off x="8203738" y="429651"/>
            <a:ext cx="194199" cy="110681"/>
          </a:xfrm>
          <a:prstGeom prst="triangl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2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790700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4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2566230" y="-152265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Rounded Rectangle 1"/>
          <p:cNvSpPr/>
          <p:nvPr/>
        </p:nvSpPr>
        <p:spPr>
          <a:xfrm>
            <a:off x="327660" y="2035489"/>
            <a:ext cx="2110706" cy="2332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  <a:cs typeface="Arial" pitchFamily="34" charset="0"/>
              </a:rPr>
              <a:t>To do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658837" y="2041132"/>
            <a:ext cx="2110706" cy="233228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der revie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990014" y="2035486"/>
            <a:ext cx="2110706" cy="2332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mplete</a:t>
            </a:r>
          </a:p>
        </p:txBody>
      </p:sp>
      <p:sp>
        <p:nvSpPr>
          <p:cNvPr id="7" name="Rectangle 6"/>
          <p:cNvSpPr/>
          <p:nvPr/>
        </p:nvSpPr>
        <p:spPr>
          <a:xfrm>
            <a:off x="327660" y="2266244"/>
            <a:ext cx="6773060" cy="3874912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829447"/>
              </p:ext>
            </p:extLst>
          </p:nvPr>
        </p:nvGraphicFramePr>
        <p:xfrm>
          <a:off x="457200" y="2266244"/>
          <a:ext cx="5423370" cy="15697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84674"/>
                <a:gridCol w="1929885"/>
                <a:gridCol w="239463"/>
                <a:gridCol w="1084674"/>
                <a:gridCol w="1084674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Date</a:t>
                      </a:r>
                      <a:r>
                        <a:rPr lang="en-US" sz="1200" baseline="0" dirty="0" smtClean="0">
                          <a:solidFill>
                            <a:schemeClr val="bg2"/>
                          </a:solidFill>
                        </a:rPr>
                        <a:t> Submitted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bg2"/>
                          </a:solidFill>
                        </a:rPr>
                        <a:t>Document Description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2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iver’s Licens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2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redit</a:t>
                      </a:r>
                      <a:r>
                        <a:rPr lang="en-US" sz="1200" baseline="0" dirty="0" smtClean="0"/>
                        <a:t> Repor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ank Statem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Rounded Rectangle 17"/>
          <p:cNvSpPr/>
          <p:nvPr/>
        </p:nvSpPr>
        <p:spPr>
          <a:xfrm>
            <a:off x="327660" y="1304893"/>
            <a:ext cx="6797530" cy="501331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yBriefcase</a:t>
            </a:r>
            <a:endParaRPr lang="en-US" sz="2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0" y="195708"/>
            <a:ext cx="9290054" cy="1346105"/>
          </a:xfrm>
        </p:spPr>
        <p:txBody>
          <a:bodyPr/>
          <a:lstStyle/>
          <a:p>
            <a:r>
              <a:rPr lang="en-US" sz="3600" b="0" dirty="0" smtClean="0">
                <a:solidFill>
                  <a:srgbClr val="78A71C"/>
                </a:solidFill>
              </a:rPr>
              <a:t>Document Storage, Upload</a:t>
            </a:r>
            <a:br>
              <a:rPr lang="en-US" sz="3600" b="0" dirty="0" smtClean="0">
                <a:solidFill>
                  <a:srgbClr val="78A71C"/>
                </a:solidFill>
              </a:rPr>
            </a:br>
            <a:r>
              <a:rPr lang="en-US" sz="3600" b="0" dirty="0" smtClean="0">
                <a:solidFill>
                  <a:srgbClr val="78A71C"/>
                </a:solidFill>
              </a:rPr>
              <a:t>Download</a:t>
            </a:r>
            <a:endParaRPr lang="en-US" sz="3600" b="0" dirty="0">
              <a:solidFill>
                <a:srgbClr val="78A71C"/>
              </a:solidFill>
            </a:endParaRPr>
          </a:p>
        </p:txBody>
      </p:sp>
      <p:pic>
        <p:nvPicPr>
          <p:cNvPr id="19" name="Picture 10" descr="C:\Users\Betsy\AppData\Local\Microsoft\Windows\Temporary Internet Files\Content.IE5\4E8G52A9\MC900389408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073" y="217606"/>
            <a:ext cx="635278" cy="63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val 19"/>
          <p:cNvSpPr/>
          <p:nvPr/>
        </p:nvSpPr>
        <p:spPr>
          <a:xfrm>
            <a:off x="8845603" y="677541"/>
            <a:ext cx="317639" cy="249485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997274" y="967819"/>
            <a:ext cx="1654619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STOMER SERVICE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8611561" y="1008401"/>
            <a:ext cx="1008368" cy="238944"/>
          </a:xfrm>
          <a:prstGeom prst="roundRect">
            <a:avLst/>
          </a:pr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55-746-3361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4100604" y="2784789"/>
            <a:ext cx="1529626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113304" y="3165789"/>
            <a:ext cx="1529626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113304" y="3534089"/>
            <a:ext cx="1529626" cy="233228"/>
          </a:xfrm>
          <a:prstGeom prst="roundRect">
            <a:avLst/>
          </a:prstGeom>
          <a:solidFill>
            <a:srgbClr val="54BC1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ew/Download</a:t>
            </a:r>
          </a:p>
        </p:txBody>
      </p:sp>
    </p:spTree>
    <p:extLst>
      <p:ext uri="{BB962C8B-B14F-4D97-AF65-F5344CB8AC3E}">
        <p14:creationId xmlns:p14="http://schemas.microsoft.com/office/powerpoint/2010/main" val="236966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8" name="Picture 10" descr="C:\Users\Betsy\AppData\Local\Microsoft\Windows\Temporary Internet Files\Content.IE5\4E8G52A9\MC900389408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073" y="217606"/>
            <a:ext cx="635278" cy="63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Oval 23"/>
          <p:cNvSpPr/>
          <p:nvPr/>
        </p:nvSpPr>
        <p:spPr>
          <a:xfrm>
            <a:off x="8845603" y="677541"/>
            <a:ext cx="317639" cy="249485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760245" y="271394"/>
            <a:ext cx="147662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lcome, Bets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630230" y="534605"/>
            <a:ext cx="2989921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Click triangle to reveal Settings and Logout)</a:t>
            </a:r>
          </a:p>
        </p:txBody>
      </p:sp>
      <p:sp>
        <p:nvSpPr>
          <p:cNvPr id="36" name="Isosceles Triangle 35"/>
          <p:cNvSpPr/>
          <p:nvPr/>
        </p:nvSpPr>
        <p:spPr>
          <a:xfrm flipH="1" flipV="1">
            <a:off x="8203738" y="429651"/>
            <a:ext cx="194199" cy="110681"/>
          </a:xfrm>
          <a:prstGeom prst="triangl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2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55575" y="-1790700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4" descr="data:image/jpeg;base64,/9j/4AAQSkZJRgABAQAAAQABAAD/2wCEAAkGBwgHBgkIBxMVFAkXFyEbGRMUDRsdGhscICcbIhwcJiMkJCwsLh4lHh8mLT0nJSktNDo6HB81ODgsNygtLjABCgoKBQUFDgUFDisZExkrKysrKysrKysrKysrKysrKysrKysrKysrKysrKysrKysrKysrKysrKysrKysrKysrK//AABEIAQsAvQMBIgACEQEDEQH/xAAcAAEBAQACAwEAAAAAAAAAAAAACAcFBgECAwT/xAA9EAACAQIDBQYDAwoHAAAAAAAAAQIDEQQFBgcSEyGRMUFRUmGBCCJxQoKiFBUzQ1NicpKhsTI0ssHCw/H/xAAUAQEAAAAAAAAAAAAAAAAAAAAA/8QAFBEBAAAAAAAAAAAAAAAAAAAAAP/aAAwDAQACEQMRAD8A3EAAAAAAAAAAAAAAAAAAAAAAAAAAAAAAAAAAAAAAAAAAAAAAAAAAAAAAAAAAAAAAAAAAAAAAAAAAAAAB4bUU2+w4LGa00vgqkqeKxuGjUXbH8pg2vqkwOeBxGU6oyHOa3AyrFUKta19yFeLlZdr3b3t7HLgAAAAAAAAAAAAAAAAAAAAAAAADO9o21TLdJOeAwKVfN7f4L/JT8N9rv/dXPx3bo87Y9dS0lk0MLlzX52rpqD/Zw+1U+vcr993z3WiYalSdWpKpVbc27tt3bb7W34gc9qbWeoNT1JPN8ROVJvlSi92mu9fKuXLxd36s6+AB9MPXrYWvTxGGlKFaLvGcZNSTXY01zTNNyLbjqbAU4UsyhSxMF9qUdyo/ePL8NzLgBT+i9ruQalr08Fik8Lj5clCpNOEm+6M+XP0aV7q1zRCHCldhescRqLIq2W5lJyx2Hst+T5zpu+634yjazf8AD2u7A04AAAAAAAAAAAAAAAAAAAD1nJQhKT7EgJM2rZ1PPNeZrXbfCpzdKC8I0/l5ejknL7x1E+letPEV6laq71JNtv1fNnzAAAAAABqvw5VZR1tjaafyvCy5X71OlZ/36mVGofDvJR15WT78NNfipv8A2ApMAAAAAAAAAAAAAAAAAAD4Y92wOJa8kv7M+588TDi4erT8YtdUBEAAAAAAAAB3HZHnX5j19ldaSvTqS4Mrdtqnyp+0rP6JnTjtWy3LJ5tr/JKEb7saqqN27FT+fn6Pdt7gVyAAAAAAAAAAAAAAAAAAAAAlrbLpB6W1RKth/wDIYlyqU/3Xf54fdbVvSS8GdBK/2gaUwur9OYjAV0vylJyoz741EuXs+xrwfikyQZRcZOMuUl3MDwAAAAAFCbANHVMty+rqTHxtXrx3aUWuapdrl99pW9Ip/aMR0llMs81NlmVxTkqlWMZJP7N7zftG79iy6cIU4Rp00lBKySXJJdiA9gAAAAAAAAAAAAAAAAAAAAAkjalkVXT+uMzw01ajObq033OE22rfR3j91lbk/wDxJ1cNPO8np02niY0pb6T5pNrcv+IDHAAAAAGxfDhk1PE51mecVVd0YKELr7VS939VGNvvsoEw34a8yoxedZXNpV3uVIq/NpXjLpeP8xuQAAAAAAAAAAAAAAAAAHpVq06NN1K0lGC7XJ2R1bN9pOj8pTWJxlKU/LRbqO/h8l7e9gO2HrOcacJTqNKCV227JLvZjOe7fcFTUoZDhZzl3TrzUV9d2N217xMs1Xr/AFHqrep5pWawt/0FNbtPoub5+ZsDQdqW1+tXrVcn0hU3cOuU8VF/NJ96pvuivOub7rJXljFSc6tSVSo25t3bbu232v6nqAAAAAAD9OXY/F5XjqONy+cqeKg7xnCVmv8A1crd92ijNkW0xaqp/mnOmlnMVdSSSVaK7Wl2Ka70vquSaU1H1wmJr4PE0sThJOFeDUozjKzTXY0/EC3gYPpnb1Wo0qVDUuHdRpWdehJKT9XB2V36SS9DVdN6503qXdjlWIg67/VTe5U/llZv6q6A7GAAAAAAAAAAOJ1VnlDTensdm+JV4UoXUb23pPlGN/WTSv6k455tg1hmspKjWjh6L+zQppP+Z3lf6NGg/Ehm7oZLleUU3zq1HUlZ/Zgkkn6Nzv8AdJ/A/Vj8yx+ZVOJmNapVqearVlJ9W2flAAAAAAAAAAAAAAAAAA7rpvalqzT+7TpV+Nhl+rxCc17O+8vopWNY0ptwyXNK1PDZ5TeFrPkqm9v0r+rsnH3Vl3tE5AC4adSFWnGpSalTaumndNPsafgexP8A8P2r8TQzd6YxcnLCVFKVFN33JxTlJL92UU3bxXL/ABO9AAAAAAPDaSbfYBM/xAZisZr6WGi+VGjCDXdd3m/6TXT0M1OV1Tm0891HmWaTbfFqykr90b/KvaNl7HFAAAAAAAAAAAAAAAAAAAAAAHPaFzqGntX5Vmtb9DTqLf5dkJXjN/VRbLEjKM4qUHeL5pp9pDpWOyHNJZts9yirUd6sIuk+f7NuMfwpdQO5AAAdf2gZj+atE53jE92aoSUX4Skt2P4mjsBmnxBY/wDJNAvDLtrVoQ9lef8AeC6gTOAAAAAAAAAAAAAAAAAAAAAAAAUL8N2NVTTWaYG/zQrqdr9inFJe14P+pPRsnw1YxQzrOsD3zpRnb+CTX/YBv4AAGI/EtXqulkGEhfcbqyat3rhpf6n1NuAEP8Kp5X0HCqeV9C4ABD/CqeV9BwqnlfQuAAQ/wqnlfQcKp5X0LgAEP8Kp5X0HCqeV9C4ABD/CqeV9BwqnlfQuAAQ/wqnlfQcKp5X0LgAEP8Kp5X0HCqeV9C4ABD/CqeV9BwqnlfQuAAQ/wqnlfQcKp5X0LgAEP8Kp5X0NG2B4l4TaFRpTTXFpVILl4JT/AOBTQAAAAAAAAAAAAAAAAAAAAAAAAAAAAAAAAAAAAAAAAAAAAAAAAAAAAAAAAAAAAAAAAAAAAAAAAAAAAAA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2566230" y="-152265"/>
            <a:ext cx="264795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Rounded Rectangle 1"/>
          <p:cNvSpPr/>
          <p:nvPr/>
        </p:nvSpPr>
        <p:spPr>
          <a:xfrm>
            <a:off x="327660" y="2035489"/>
            <a:ext cx="2110706" cy="233228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600" b="1" dirty="0" smtClean="0">
                <a:solidFill>
                  <a:schemeClr val="bg1"/>
                </a:solidFill>
                <a:latin typeface="Candara" panose="020E0502030303020204" pitchFamily="34" charset="0"/>
                <a:cs typeface="Arial" pitchFamily="34" charset="0"/>
              </a:rPr>
              <a:t>Inbox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658837" y="2041132"/>
            <a:ext cx="2110706" cy="2332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1400" b="1" dirty="0" smtClean="0">
                <a:solidFill>
                  <a:srgbClr val="0065CC"/>
                </a:solidFill>
                <a:latin typeface="Arial" pitchFamily="34" charset="0"/>
                <a:cs typeface="Arial" pitchFamily="34" charset="0"/>
              </a:rPr>
              <a:t>Outbox</a:t>
            </a:r>
          </a:p>
        </p:txBody>
      </p:sp>
      <p:sp>
        <p:nvSpPr>
          <p:cNvPr id="7" name="Rectangle 6"/>
          <p:cNvSpPr/>
          <p:nvPr/>
        </p:nvSpPr>
        <p:spPr>
          <a:xfrm>
            <a:off x="327660" y="2266244"/>
            <a:ext cx="6773060" cy="3874912"/>
          </a:xfrm>
          <a:prstGeom prst="rect">
            <a:avLst/>
          </a:prstGeom>
          <a:noFill/>
          <a:ln w="9525">
            <a:solidFill>
              <a:schemeClr val="accent3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27660" y="1304893"/>
            <a:ext cx="6797530" cy="501331"/>
          </a:xfrm>
          <a:prstGeom prst="round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r>
              <a:rPr lang="en-US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ssage Center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0" y="195708"/>
            <a:ext cx="9290054" cy="1346105"/>
          </a:xfrm>
        </p:spPr>
        <p:txBody>
          <a:bodyPr/>
          <a:lstStyle/>
          <a:p>
            <a:r>
              <a:rPr lang="en-US" sz="3600" b="0" dirty="0" smtClean="0">
                <a:solidFill>
                  <a:srgbClr val="78A71C"/>
                </a:solidFill>
              </a:rPr>
              <a:t>Email notifications</a:t>
            </a:r>
            <a:endParaRPr lang="en-US" sz="3600" b="0" dirty="0">
              <a:solidFill>
                <a:srgbClr val="78A71C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7512427"/>
              </p:ext>
            </p:extLst>
          </p:nvPr>
        </p:nvGraphicFramePr>
        <p:xfrm>
          <a:off x="457199" y="2409567"/>
          <a:ext cx="6303045" cy="303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7024"/>
                <a:gridCol w="1835006"/>
                <a:gridCol w="2101015"/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0" dirty="0" smtClean="0"/>
                        <a:t>Subject</a:t>
                      </a:r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 smtClean="0"/>
                        <a:t>Message Type</a:t>
                      </a:r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 smtClean="0"/>
                        <a:t>Date</a:t>
                      </a:r>
                      <a:endParaRPr lang="en-US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lease</a:t>
                      </a:r>
                      <a:r>
                        <a:rPr lang="en-US" sz="1200" b="1" baseline="0" dirty="0" smtClean="0"/>
                        <a:t> provide property info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ocument</a:t>
                      </a:r>
                      <a:r>
                        <a:rPr lang="en-US" sz="1200" b="1" baseline="0" dirty="0" smtClean="0"/>
                        <a:t> Request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11/15/13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hank you for submitting</a:t>
                      </a:r>
                      <a:r>
                        <a:rPr lang="en-US" sz="1200" b="1" baseline="0" dirty="0" smtClean="0"/>
                        <a:t> your documents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ocuments</a:t>
                      </a:r>
                      <a:r>
                        <a:rPr lang="en-US" sz="1200" b="1" baseline="0" dirty="0" smtClean="0"/>
                        <a:t> Received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11/15/13</a:t>
                      </a:r>
                      <a:endParaRPr lang="en-US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Your credit has been pull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tatus Upda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13/2013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tailed</a:t>
                      </a:r>
                      <a:r>
                        <a:rPr lang="en-US" sz="1200" baseline="0" dirty="0" smtClean="0"/>
                        <a:t> rate quote output we discussed toda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ate Quot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12/2013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ecklist</a:t>
                      </a:r>
                      <a:r>
                        <a:rPr lang="en-US" sz="1200" baseline="0" dirty="0" smtClean="0"/>
                        <a:t> for Documents and Disclosur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orrower</a:t>
                      </a:r>
                      <a:r>
                        <a:rPr lang="en-US" sz="1200" baseline="0" dirty="0" smtClean="0"/>
                        <a:t> Checklist – Documents and Disclosur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1/12/2013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595078" y="2129447"/>
            <a:ext cx="1702634" cy="1843751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ssages sent to borrower can be generated via Encompass, allowing advisor to select message type, add documents and add a message and label with a subjec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91156" y="4092642"/>
            <a:ext cx="1702634" cy="1105088"/>
          </a:xfrm>
          <a:prstGeom prst="rect">
            <a:avLst/>
          </a:prstGeom>
          <a:solidFill>
            <a:srgbClr val="FFFF0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ssages will be sent to email address provided in account settings AND sent to message center</a:t>
            </a:r>
          </a:p>
        </p:txBody>
      </p:sp>
      <p:pic>
        <p:nvPicPr>
          <p:cNvPr id="13315" name="Picture 3" descr="C:\Users\Betsy\AppData\Local\Microsoft\Windows\Temporary Internet Files\Content.IE5\OAH01MJI\MC900441311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4582" y="3971750"/>
            <a:ext cx="451414" cy="451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C:\Users\Betsy\AppData\Local\Microsoft\Windows\Temporary Internet Files\Content.IE5\OAH01MJI\MC900441311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232" y="4482975"/>
            <a:ext cx="451414" cy="451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7591156" y="5350130"/>
            <a:ext cx="1702634" cy="735756"/>
          </a:xfrm>
          <a:prstGeom prst="rect">
            <a:avLst/>
          </a:prstGeom>
          <a:solidFill>
            <a:srgbClr val="00B0F0"/>
          </a:solidFill>
          <a:ln>
            <a:solidFill>
              <a:schemeClr val="bg2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 we need outbox/send capabilities?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997274" y="967819"/>
            <a:ext cx="1654619" cy="35103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STOMER SERVICE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8611561" y="1008401"/>
            <a:ext cx="1008368" cy="238944"/>
          </a:xfrm>
          <a:prstGeom prst="roundRect">
            <a:avLst/>
          </a:pr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55-746-3361</a:t>
            </a:r>
          </a:p>
        </p:txBody>
      </p:sp>
      <p:pic>
        <p:nvPicPr>
          <p:cNvPr id="27" name="Picture 2" descr="C:\Users\Betsy\AppData\Local\Microsoft\Windows\Temporary Internet Files\Content.IE5\OAH01MJI\MC900383868[1]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4336" y="1318854"/>
            <a:ext cx="686751" cy="68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Oval 29"/>
          <p:cNvSpPr/>
          <p:nvPr/>
        </p:nvSpPr>
        <p:spPr>
          <a:xfrm>
            <a:off x="8832763" y="1843904"/>
            <a:ext cx="317639" cy="249485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920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err="1" smtClean="0"/>
              <a:t>MyAccount</a:t>
            </a:r>
            <a:r>
              <a:rPr lang="en-US" b="0" dirty="0" smtClean="0"/>
              <a:t> Functionality Summary</a:t>
            </a:r>
            <a:endParaRPr lang="en-U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1270635"/>
            <a:ext cx="4508340" cy="45902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/>
              <a:t>MyMortgage</a:t>
            </a:r>
            <a:endParaRPr lang="en-US" sz="2000" dirty="0"/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/>
              <a:t>Lender &amp; Product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/>
              <a:t>Loan </a:t>
            </a:r>
            <a:r>
              <a:rPr lang="en-US" dirty="0" err="1" smtClean="0"/>
              <a:t>Amt</a:t>
            </a:r>
            <a:endParaRPr lang="en-US" dirty="0"/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Interest Rate &amp; </a:t>
            </a:r>
          </a:p>
          <a:p>
            <a:pPr marL="704850" lvl="2" indent="-342900">
              <a:buFont typeface="Arial" panose="020B0604020202020204" pitchFamily="34" charset="0"/>
              <a:buChar char="‒"/>
            </a:pPr>
            <a:r>
              <a:rPr lang="en-US" dirty="0" smtClean="0"/>
              <a:t>Locked/Lock Date xx</a:t>
            </a:r>
            <a:endParaRPr lang="en-US" dirty="0"/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Property address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Target close date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 smtClean="0"/>
              <a:t>MySindeo</a:t>
            </a:r>
            <a:r>
              <a:rPr lang="en-US" sz="2000" dirty="0" smtClean="0"/>
              <a:t> Contacts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Advisor contact info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Processor contact info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Expands to include realtor &amp; title/escrow contact inf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Progress tracker</a:t>
            </a:r>
            <a:endParaRPr lang="en-US" sz="2000" dirty="0"/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What is the status of my loan?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What are the outstanding to-do’s to achieve next milestone?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 bwMode="gray">
          <a:xfrm>
            <a:off x="4973374" y="1272560"/>
            <a:ext cx="4508340" cy="45902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9CDC1D"/>
              </a:buClr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ct val="20000"/>
              </a:spcBef>
              <a:buClr>
                <a:srgbClr val="9CDC1D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ct val="20000"/>
              </a:spcBef>
              <a:buClr>
                <a:srgbClr val="9CDC1D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ct val="20000"/>
              </a:spcBef>
              <a:buClr>
                <a:srgbClr val="9CDC1D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ct val="20000"/>
              </a:spcBef>
              <a:buClr>
                <a:srgbClr val="9CDC1D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Briefcase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Document requests &amp; storage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Document upload &amp; download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Classified by “To-do”, “Under Review” &amp; “Complete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Message Center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/>
              <a:t>All emails and alerts go to borrower email and to message </a:t>
            </a:r>
            <a:r>
              <a:rPr lang="en-US" dirty="0" smtClean="0"/>
              <a:t>center</a:t>
            </a:r>
            <a:endParaRPr lang="en-US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Account Settings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Account credentials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Borrower contact info</a:t>
            </a:r>
          </a:p>
          <a:p>
            <a:pPr marL="523875" lvl="1" indent="-342900">
              <a:buFont typeface="Arial" panose="020B0604020202020204" pitchFamily="34" charset="0"/>
              <a:buChar char="‒"/>
            </a:pPr>
            <a:r>
              <a:rPr lang="en-US" dirty="0" smtClean="0"/>
              <a:t>Contact preferences</a:t>
            </a:r>
          </a:p>
          <a:p>
            <a:pPr marL="523875" lvl="1" indent="-34290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43782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95&quot; g=&quot;bc&quot; b=&quot;37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1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SmycUr00SffyHeLeZK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dV72yV7kukZVFLIqwg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wOikM9ok6pEeIaZcfx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obTs1.02Ygka7vrhR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1KahWyE.MdBRsQMWx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tSoWlmVUKOekTL6N2S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H2Q6ccOU6Kp6DVTurm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ekGFpeH0CtIEyUWHqb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XHguqDiUW0ns4Ch1J4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byP.ln0Oh46dtVrME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lMsOvnp0Gyved3x0Y.RQ"/>
</p:tagLst>
</file>

<file path=ppt/theme/theme1.xml><?xml version="1.0" encoding="utf-8"?>
<a:theme xmlns:a="http://schemas.openxmlformats.org/drawingml/2006/main" name="1_blank">
  <a:themeElements>
    <a:clrScheme name="Custom 3">
      <a:dk1>
        <a:srgbClr val="000000"/>
      </a:dk1>
      <a:lt1>
        <a:srgbClr val="FFFFFF"/>
      </a:lt1>
      <a:dk2>
        <a:srgbClr val="2B2F31"/>
      </a:dk2>
      <a:lt2>
        <a:srgbClr val="808080"/>
      </a:lt2>
      <a:accent1>
        <a:srgbClr val="9FDB29"/>
      </a:accent1>
      <a:accent2>
        <a:srgbClr val="B3C2CC"/>
      </a:accent2>
      <a:accent3>
        <a:srgbClr val="7DC3E0"/>
      </a:accent3>
      <a:accent4>
        <a:srgbClr val="0A5263"/>
      </a:accent4>
      <a:accent5>
        <a:srgbClr val="AE0044"/>
      </a:accent5>
      <a:accent6>
        <a:srgbClr val="EEA632"/>
      </a:accent6>
      <a:hlink>
        <a:srgbClr val="90CBDB"/>
      </a:hlink>
      <a:folHlink>
        <a:srgbClr val="80808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291</TotalTime>
  <Words>823</Words>
  <Application>Microsoft Office PowerPoint</Application>
  <PresentationFormat>A4 Paper (210x297 mm)</PresentationFormat>
  <Paragraphs>246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1_blank</vt:lpstr>
      <vt:lpstr>think-cell Slide</vt:lpstr>
      <vt:lpstr>Mortgage Profile Builder Results</vt:lpstr>
      <vt:lpstr>MyAccount Home</vt:lpstr>
      <vt:lpstr>Document Storage, Upload Download</vt:lpstr>
      <vt:lpstr>Document Storage, Upload Download</vt:lpstr>
      <vt:lpstr>Email notifications</vt:lpstr>
      <vt:lpstr>MyAccount Functionality Summary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Mrose Cecile</dc:creator>
  <cp:lastModifiedBy>Betsy Chapman</cp:lastModifiedBy>
  <cp:revision>688</cp:revision>
  <cp:lastPrinted>2013-11-19T00:03:39Z</cp:lastPrinted>
  <dcterms:created xsi:type="dcterms:W3CDTF">2012-06-12T11:50:10Z</dcterms:created>
  <dcterms:modified xsi:type="dcterms:W3CDTF">2013-11-26T19:1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